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8FB0E8D-8370-324C-89F4-924F131F91D2}" v="43" dt="2024-08-30T17:53:34.4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84" autoAdjust="0"/>
    <p:restoredTop sz="93447" autoAdjust="0"/>
  </p:normalViewPr>
  <p:slideViewPr>
    <p:cSldViewPr snapToGrid="0">
      <p:cViewPr varScale="1">
        <p:scale>
          <a:sx n="128" d="100"/>
          <a:sy n="128" d="100"/>
        </p:scale>
        <p:origin x="520" y="17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rivastava, Ajitesh SBOBNG-PTIY/TCD2" userId="e90596f0-07d6-4dae-b9f8-9ee467eb8c81" providerId="ADAL" clId="{98FB0E8D-8370-324C-89F4-924F131F91D2}"/>
    <pc:docChg chg="undo custSel modSld">
      <pc:chgData name="Srivastava, Ajitesh SBOBNG-PTIY/TCD2" userId="e90596f0-07d6-4dae-b9f8-9ee467eb8c81" providerId="ADAL" clId="{98FB0E8D-8370-324C-89F4-924F131F91D2}" dt="2024-08-30T17:53:43.574" v="1451"/>
      <pc:docMkLst>
        <pc:docMk/>
      </pc:docMkLst>
      <pc:sldChg chg="addSp modSp mod">
        <pc:chgData name="Srivastava, Ajitesh SBOBNG-PTIY/TCD2" userId="e90596f0-07d6-4dae-b9f8-9ee467eb8c81" providerId="ADAL" clId="{98FB0E8D-8370-324C-89F4-924F131F91D2}" dt="2024-08-29T03:36:01.126" v="55" actId="1076"/>
        <pc:sldMkLst>
          <pc:docMk/>
          <pc:sldMk cId="867832184" sldId="2147375589"/>
        </pc:sldMkLst>
        <pc:spChg chg="mod">
          <ac:chgData name="Srivastava, Ajitesh SBOBNG-PTIY/TCD2" userId="e90596f0-07d6-4dae-b9f8-9ee467eb8c81" providerId="ADAL" clId="{98FB0E8D-8370-324C-89F4-924F131F91D2}" dt="2024-08-29T03:35:45.506" v="51" actId="14100"/>
          <ac:spMkLst>
            <pc:docMk/>
            <pc:sldMk cId="867832184" sldId="2147375589"/>
            <ac:spMk id="11" creationId="{CE0DDF5F-FE47-F9A2-FE84-53B63DFF494D}"/>
          </ac:spMkLst>
        </pc:spChg>
        <pc:picChg chg="add mod">
          <ac:chgData name="Srivastava, Ajitesh SBOBNG-PTIY/TCD2" userId="e90596f0-07d6-4dae-b9f8-9ee467eb8c81" providerId="ADAL" clId="{98FB0E8D-8370-324C-89F4-924F131F91D2}" dt="2024-08-29T03:35:45.506" v="51" actId="14100"/>
          <ac:picMkLst>
            <pc:docMk/>
            <pc:sldMk cId="867832184" sldId="2147375589"/>
            <ac:picMk id="1026" creationId="{A3A5DCBD-3BB5-59C4-C85C-CDB8348324F2}"/>
          </ac:picMkLst>
        </pc:picChg>
        <pc:picChg chg="add mod">
          <ac:chgData name="Srivastava, Ajitesh SBOBNG-PTIY/TCD2" userId="e90596f0-07d6-4dae-b9f8-9ee467eb8c81" providerId="ADAL" clId="{98FB0E8D-8370-324C-89F4-924F131F91D2}" dt="2024-08-29T03:36:01.126" v="55" actId="1076"/>
          <ac:picMkLst>
            <pc:docMk/>
            <pc:sldMk cId="867832184" sldId="2147375589"/>
            <ac:picMk id="1028" creationId="{16E080D3-371B-B6C0-798F-19AC4F3F9B2D}"/>
          </ac:picMkLst>
        </pc:picChg>
      </pc:sldChg>
      <pc:sldChg chg="addSp modSp mod">
        <pc:chgData name="Srivastava, Ajitesh SBOBNG-PTIY/TCD2" userId="e90596f0-07d6-4dae-b9f8-9ee467eb8c81" providerId="ADAL" clId="{98FB0E8D-8370-324C-89F4-924F131F91D2}" dt="2024-08-30T03:43:24.572" v="843" actId="1076"/>
        <pc:sldMkLst>
          <pc:docMk/>
          <pc:sldMk cId="245881457" sldId="2147375597"/>
        </pc:sldMkLst>
        <pc:spChg chg="mod">
          <ac:chgData name="Srivastava, Ajitesh SBOBNG-PTIY/TCD2" userId="e90596f0-07d6-4dae-b9f8-9ee467eb8c81" providerId="ADAL" clId="{98FB0E8D-8370-324C-89F4-924F131F91D2}" dt="2024-08-30T03:42:20.250" v="782" actId="20577"/>
          <ac:spMkLst>
            <pc:docMk/>
            <pc:sldMk cId="245881457" sldId="2147375597"/>
            <ac:spMk id="11" creationId="{DE9F1BE0-7910-FA1B-DCE8-56EFD1E4FC09}"/>
          </ac:spMkLst>
        </pc:spChg>
        <pc:spChg chg="mod">
          <ac:chgData name="Srivastava, Ajitesh SBOBNG-PTIY/TCD2" userId="e90596f0-07d6-4dae-b9f8-9ee467eb8c81" providerId="ADAL" clId="{98FB0E8D-8370-324C-89F4-924F131F91D2}" dt="2024-08-30T03:43:17.513" v="840" actId="20577"/>
          <ac:spMkLst>
            <pc:docMk/>
            <pc:sldMk cId="245881457" sldId="2147375597"/>
            <ac:spMk id="12" creationId="{E53E5C3F-4D2B-B85F-E592-E58E032C664C}"/>
          </ac:spMkLst>
        </pc:spChg>
        <pc:picChg chg="add mod">
          <ac:chgData name="Srivastava, Ajitesh SBOBNG-PTIY/TCD2" userId="e90596f0-07d6-4dae-b9f8-9ee467eb8c81" providerId="ADAL" clId="{98FB0E8D-8370-324C-89F4-924F131F91D2}" dt="2024-08-30T03:43:24.572" v="843" actId="1076"/>
          <ac:picMkLst>
            <pc:docMk/>
            <pc:sldMk cId="245881457" sldId="2147375597"/>
            <ac:picMk id="3074" creationId="{0A5EAAE2-B631-E01B-2347-0286EA7C91C1}"/>
          </ac:picMkLst>
        </pc:picChg>
      </pc:sldChg>
      <pc:sldChg chg="addSp modSp mod">
        <pc:chgData name="Srivastava, Ajitesh SBOBNG-PTIY/TCD2" userId="e90596f0-07d6-4dae-b9f8-9ee467eb8c81" providerId="ADAL" clId="{98FB0E8D-8370-324C-89F4-924F131F91D2}" dt="2024-08-30T03:06:01.890" v="477" actId="1076"/>
        <pc:sldMkLst>
          <pc:docMk/>
          <pc:sldMk cId="1181112711" sldId="2147375600"/>
        </pc:sldMkLst>
        <pc:spChg chg="add mod">
          <ac:chgData name="Srivastava, Ajitesh SBOBNG-PTIY/TCD2" userId="e90596f0-07d6-4dae-b9f8-9ee467eb8c81" providerId="ADAL" clId="{98FB0E8D-8370-324C-89F4-924F131F91D2}" dt="2024-08-30T03:05:21.247" v="473" actId="14100"/>
          <ac:spMkLst>
            <pc:docMk/>
            <pc:sldMk cId="1181112711" sldId="2147375600"/>
            <ac:spMk id="2" creationId="{5EF7E1FC-2138-73FF-6708-D954DED448A8}"/>
          </ac:spMkLst>
        </pc:spChg>
        <pc:spChg chg="add">
          <ac:chgData name="Srivastava, Ajitesh SBOBNG-PTIY/TCD2" userId="e90596f0-07d6-4dae-b9f8-9ee467eb8c81" providerId="ADAL" clId="{98FB0E8D-8370-324C-89F4-924F131F91D2}" dt="2024-08-30T03:05:25.322" v="474"/>
          <ac:spMkLst>
            <pc:docMk/>
            <pc:sldMk cId="1181112711" sldId="2147375600"/>
            <ac:spMk id="5" creationId="{367CE4E4-5E19-2266-0F87-12C600651BE5}"/>
          </ac:spMkLst>
        </pc:spChg>
        <pc:spChg chg="mod">
          <ac:chgData name="Srivastava, Ajitesh SBOBNG-PTIY/TCD2" userId="e90596f0-07d6-4dae-b9f8-9ee467eb8c81" providerId="ADAL" clId="{98FB0E8D-8370-324C-89F4-924F131F91D2}" dt="2024-08-30T03:04:38.009" v="412" actId="20577"/>
          <ac:spMkLst>
            <pc:docMk/>
            <pc:sldMk cId="1181112711" sldId="2147375600"/>
            <ac:spMk id="11" creationId="{DE9F1BE0-7910-FA1B-DCE8-56EFD1E4FC09}"/>
          </ac:spMkLst>
        </pc:spChg>
        <pc:spChg chg="mod">
          <ac:chgData name="Srivastava, Ajitesh SBOBNG-PTIY/TCD2" userId="e90596f0-07d6-4dae-b9f8-9ee467eb8c81" providerId="ADAL" clId="{98FB0E8D-8370-324C-89F4-924F131F91D2}" dt="2024-08-30T03:05:12.482" v="470" actId="20577"/>
          <ac:spMkLst>
            <pc:docMk/>
            <pc:sldMk cId="1181112711" sldId="2147375600"/>
            <ac:spMk id="12" creationId="{E53E5C3F-4D2B-B85F-E592-E58E032C664C}"/>
          </ac:spMkLst>
        </pc:spChg>
        <pc:picChg chg="add mod">
          <ac:chgData name="Srivastava, Ajitesh SBOBNG-PTIY/TCD2" userId="e90596f0-07d6-4dae-b9f8-9ee467eb8c81" providerId="ADAL" clId="{98FB0E8D-8370-324C-89F4-924F131F91D2}" dt="2024-08-30T03:06:01.890" v="477" actId="1076"/>
          <ac:picMkLst>
            <pc:docMk/>
            <pc:sldMk cId="1181112711" sldId="2147375600"/>
            <ac:picMk id="2054" creationId="{9FA57274-6AD4-8F6F-FD94-5C0C63BDB82D}"/>
          </ac:picMkLst>
        </pc:picChg>
      </pc:sldChg>
      <pc:sldChg chg="addSp modSp mod">
        <pc:chgData name="Srivastava, Ajitesh SBOBNG-PTIY/TCD2" userId="e90596f0-07d6-4dae-b9f8-9ee467eb8c81" providerId="ADAL" clId="{98FB0E8D-8370-324C-89F4-924F131F91D2}" dt="2024-08-30T03:48:39.740" v="959" actId="1076"/>
        <pc:sldMkLst>
          <pc:docMk/>
          <pc:sldMk cId="3233747587" sldId="2147375601"/>
        </pc:sldMkLst>
        <pc:spChg chg="mod">
          <ac:chgData name="Srivastava, Ajitesh SBOBNG-PTIY/TCD2" userId="e90596f0-07d6-4dae-b9f8-9ee467eb8c81" providerId="ADAL" clId="{98FB0E8D-8370-324C-89F4-924F131F91D2}" dt="2024-08-30T03:47:44.920" v="944"/>
          <ac:spMkLst>
            <pc:docMk/>
            <pc:sldMk cId="3233747587" sldId="2147375601"/>
            <ac:spMk id="11" creationId="{DE9F1BE0-7910-FA1B-DCE8-56EFD1E4FC09}"/>
          </ac:spMkLst>
        </pc:spChg>
        <pc:spChg chg="mod">
          <ac:chgData name="Srivastava, Ajitesh SBOBNG-PTIY/TCD2" userId="e90596f0-07d6-4dae-b9f8-9ee467eb8c81" providerId="ADAL" clId="{98FB0E8D-8370-324C-89F4-924F131F91D2}" dt="2024-08-30T03:48:31.514" v="956" actId="20577"/>
          <ac:spMkLst>
            <pc:docMk/>
            <pc:sldMk cId="3233747587" sldId="2147375601"/>
            <ac:spMk id="12" creationId="{E53E5C3F-4D2B-B85F-E592-E58E032C664C}"/>
          </ac:spMkLst>
        </pc:spChg>
        <pc:picChg chg="add mod">
          <ac:chgData name="Srivastava, Ajitesh SBOBNG-PTIY/TCD2" userId="e90596f0-07d6-4dae-b9f8-9ee467eb8c81" providerId="ADAL" clId="{98FB0E8D-8370-324C-89F4-924F131F91D2}" dt="2024-08-30T03:48:39.740" v="959" actId="1076"/>
          <ac:picMkLst>
            <pc:docMk/>
            <pc:sldMk cId="3233747587" sldId="2147375601"/>
            <ac:picMk id="4098" creationId="{844A494A-F287-5FC3-17CD-130A34EFC64E}"/>
          </ac:picMkLst>
        </pc:picChg>
      </pc:sldChg>
      <pc:sldChg chg="addSp modSp mod">
        <pc:chgData name="Srivastava, Ajitesh SBOBNG-PTIY/TCD2" userId="e90596f0-07d6-4dae-b9f8-9ee467eb8c81" providerId="ADAL" clId="{98FB0E8D-8370-324C-89F4-924F131F91D2}" dt="2024-08-30T17:45:18.728" v="1189" actId="5793"/>
        <pc:sldMkLst>
          <pc:docMk/>
          <pc:sldMk cId="3971512377" sldId="2147375603"/>
        </pc:sldMkLst>
        <pc:spChg chg="mod">
          <ac:chgData name="Srivastava, Ajitesh SBOBNG-PTIY/TCD2" userId="e90596f0-07d6-4dae-b9f8-9ee467eb8c81" providerId="ADAL" clId="{98FB0E8D-8370-324C-89F4-924F131F91D2}" dt="2024-08-30T17:45:18.728" v="1189" actId="5793"/>
          <ac:spMkLst>
            <pc:docMk/>
            <pc:sldMk cId="3971512377" sldId="2147375603"/>
            <ac:spMk id="11" creationId="{DE9F1BE0-7910-FA1B-DCE8-56EFD1E4FC09}"/>
          </ac:spMkLst>
        </pc:spChg>
        <pc:spChg chg="mod">
          <ac:chgData name="Srivastava, Ajitesh SBOBNG-PTIY/TCD2" userId="e90596f0-07d6-4dae-b9f8-9ee467eb8c81" providerId="ADAL" clId="{98FB0E8D-8370-324C-89F4-924F131F91D2}" dt="2024-08-30T03:54:23.910" v="962" actId="20577"/>
          <ac:spMkLst>
            <pc:docMk/>
            <pc:sldMk cId="3971512377" sldId="2147375603"/>
            <ac:spMk id="12" creationId="{E53E5C3F-4D2B-B85F-E592-E58E032C664C}"/>
          </ac:spMkLst>
        </pc:spChg>
        <pc:picChg chg="add mod">
          <ac:chgData name="Srivastava, Ajitesh SBOBNG-PTIY/TCD2" userId="e90596f0-07d6-4dae-b9f8-9ee467eb8c81" providerId="ADAL" clId="{98FB0E8D-8370-324C-89F4-924F131F91D2}" dt="2024-08-30T03:54:16.933" v="960"/>
          <ac:picMkLst>
            <pc:docMk/>
            <pc:sldMk cId="3971512377" sldId="2147375603"/>
            <ac:picMk id="2" creationId="{7EB27229-85A0-04A5-9787-3BB6F029F9CE}"/>
          </ac:picMkLst>
        </pc:picChg>
        <pc:picChg chg="add mod">
          <ac:chgData name="Srivastava, Ajitesh SBOBNG-PTIY/TCD2" userId="e90596f0-07d6-4dae-b9f8-9ee467eb8c81" providerId="ADAL" clId="{98FB0E8D-8370-324C-89F4-924F131F91D2}" dt="2024-08-30T03:54:25.489" v="963"/>
          <ac:picMkLst>
            <pc:docMk/>
            <pc:sldMk cId="3971512377" sldId="2147375603"/>
            <ac:picMk id="6" creationId="{980F5F2F-A521-4B10-63DE-231BF60B1FFE}"/>
          </ac:picMkLst>
        </pc:picChg>
      </pc:sldChg>
      <pc:sldChg chg="addSp modSp mod">
        <pc:chgData name="Srivastava, Ajitesh SBOBNG-PTIY/TCD2" userId="e90596f0-07d6-4dae-b9f8-9ee467eb8c81" providerId="ADAL" clId="{98FB0E8D-8370-324C-89F4-924F131F91D2}" dt="2024-08-30T17:34:08.648" v="1121"/>
        <pc:sldMkLst>
          <pc:docMk/>
          <pc:sldMk cId="3179805674" sldId="2147375604"/>
        </pc:sldMkLst>
        <pc:spChg chg="mod">
          <ac:chgData name="Srivastava, Ajitesh SBOBNG-PTIY/TCD2" userId="e90596f0-07d6-4dae-b9f8-9ee467eb8c81" providerId="ADAL" clId="{98FB0E8D-8370-324C-89F4-924F131F91D2}" dt="2024-08-30T17:34:08.648" v="1121"/>
          <ac:spMkLst>
            <pc:docMk/>
            <pc:sldMk cId="3179805674" sldId="2147375604"/>
            <ac:spMk id="11" creationId="{DE9F1BE0-7910-FA1B-DCE8-56EFD1E4FC09}"/>
          </ac:spMkLst>
        </pc:spChg>
        <pc:spChg chg="mod">
          <ac:chgData name="Srivastava, Ajitesh SBOBNG-PTIY/TCD2" userId="e90596f0-07d6-4dae-b9f8-9ee467eb8c81" providerId="ADAL" clId="{98FB0E8D-8370-324C-89F4-924F131F91D2}" dt="2024-08-30T03:54:34.464" v="964" actId="20577"/>
          <ac:spMkLst>
            <pc:docMk/>
            <pc:sldMk cId="3179805674" sldId="2147375604"/>
            <ac:spMk id="12" creationId="{E53E5C3F-4D2B-B85F-E592-E58E032C664C}"/>
          </ac:spMkLst>
        </pc:spChg>
        <pc:picChg chg="add mod">
          <ac:chgData name="Srivastava, Ajitesh SBOBNG-PTIY/TCD2" userId="e90596f0-07d6-4dae-b9f8-9ee467eb8c81" providerId="ADAL" clId="{98FB0E8D-8370-324C-89F4-924F131F91D2}" dt="2024-08-30T03:54:35.558" v="965"/>
          <ac:picMkLst>
            <pc:docMk/>
            <pc:sldMk cId="3179805674" sldId="2147375604"/>
            <ac:picMk id="2" creationId="{3A7F2D84-D18A-327A-A9A0-05FEBFF487DA}"/>
          </ac:picMkLst>
        </pc:picChg>
      </pc:sldChg>
      <pc:sldChg chg="addSp modSp mod">
        <pc:chgData name="Srivastava, Ajitesh SBOBNG-PTIY/TCD2" userId="e90596f0-07d6-4dae-b9f8-9ee467eb8c81" providerId="ADAL" clId="{98FB0E8D-8370-324C-89F4-924F131F91D2}" dt="2024-08-30T17:34:53.301" v="1122"/>
        <pc:sldMkLst>
          <pc:docMk/>
          <pc:sldMk cId="86366928" sldId="2147375605"/>
        </pc:sldMkLst>
        <pc:spChg chg="mod">
          <ac:chgData name="Srivastava, Ajitesh SBOBNG-PTIY/TCD2" userId="e90596f0-07d6-4dae-b9f8-9ee467eb8c81" providerId="ADAL" clId="{98FB0E8D-8370-324C-89F4-924F131F91D2}" dt="2024-08-30T17:34:53.301" v="1122"/>
          <ac:spMkLst>
            <pc:docMk/>
            <pc:sldMk cId="86366928" sldId="2147375605"/>
            <ac:spMk id="11" creationId="{DE9F1BE0-7910-FA1B-DCE8-56EFD1E4FC09}"/>
          </ac:spMkLst>
        </pc:spChg>
        <pc:spChg chg="mod">
          <ac:chgData name="Srivastava, Ajitesh SBOBNG-PTIY/TCD2" userId="e90596f0-07d6-4dae-b9f8-9ee467eb8c81" providerId="ADAL" clId="{98FB0E8D-8370-324C-89F4-924F131F91D2}" dt="2024-08-30T03:54:43.770" v="967" actId="20577"/>
          <ac:spMkLst>
            <pc:docMk/>
            <pc:sldMk cId="86366928" sldId="2147375605"/>
            <ac:spMk id="12" creationId="{E53E5C3F-4D2B-B85F-E592-E58E032C664C}"/>
          </ac:spMkLst>
        </pc:spChg>
        <pc:picChg chg="add mod">
          <ac:chgData name="Srivastava, Ajitesh SBOBNG-PTIY/TCD2" userId="e90596f0-07d6-4dae-b9f8-9ee467eb8c81" providerId="ADAL" clId="{98FB0E8D-8370-324C-89F4-924F131F91D2}" dt="2024-08-30T03:54:44.088" v="968"/>
          <ac:picMkLst>
            <pc:docMk/>
            <pc:sldMk cId="86366928" sldId="2147375605"/>
            <ac:picMk id="2" creationId="{FAB62D5E-9282-3246-EF84-DF5B56461609}"/>
          </ac:picMkLst>
        </pc:picChg>
      </pc:sldChg>
      <pc:sldChg chg="addSp modSp mod">
        <pc:chgData name="Srivastava, Ajitesh SBOBNG-PTIY/TCD2" userId="e90596f0-07d6-4dae-b9f8-9ee467eb8c81" providerId="ADAL" clId="{98FB0E8D-8370-324C-89F4-924F131F91D2}" dt="2024-08-30T17:30:28.396" v="1047"/>
        <pc:sldMkLst>
          <pc:docMk/>
          <pc:sldMk cId="2340944189" sldId="2147375607"/>
        </pc:sldMkLst>
        <pc:spChg chg="mod">
          <ac:chgData name="Srivastava, Ajitesh SBOBNG-PTIY/TCD2" userId="e90596f0-07d6-4dae-b9f8-9ee467eb8c81" providerId="ADAL" clId="{98FB0E8D-8370-324C-89F4-924F131F91D2}" dt="2024-08-30T17:30:19.625" v="1045"/>
          <ac:spMkLst>
            <pc:docMk/>
            <pc:sldMk cId="2340944189" sldId="2147375607"/>
            <ac:spMk id="11" creationId="{DE9F1BE0-7910-FA1B-DCE8-56EFD1E4FC09}"/>
          </ac:spMkLst>
        </pc:spChg>
        <pc:spChg chg="mod">
          <ac:chgData name="Srivastava, Ajitesh SBOBNG-PTIY/TCD2" userId="e90596f0-07d6-4dae-b9f8-9ee467eb8c81" providerId="ADAL" clId="{98FB0E8D-8370-324C-89F4-924F131F91D2}" dt="2024-08-30T17:30:27.669" v="1046" actId="20577"/>
          <ac:spMkLst>
            <pc:docMk/>
            <pc:sldMk cId="2340944189" sldId="2147375607"/>
            <ac:spMk id="12" creationId="{E53E5C3F-4D2B-B85F-E592-E58E032C664C}"/>
          </ac:spMkLst>
        </pc:spChg>
        <pc:picChg chg="add mod">
          <ac:chgData name="Srivastava, Ajitesh SBOBNG-PTIY/TCD2" userId="e90596f0-07d6-4dae-b9f8-9ee467eb8c81" providerId="ADAL" clId="{98FB0E8D-8370-324C-89F4-924F131F91D2}" dt="2024-08-30T17:30:28.396" v="1047"/>
          <ac:picMkLst>
            <pc:docMk/>
            <pc:sldMk cId="2340944189" sldId="2147375607"/>
            <ac:picMk id="5" creationId="{6E6BCA3C-4221-3C23-4941-DB2084D88D86}"/>
          </ac:picMkLst>
        </pc:picChg>
      </pc:sldChg>
      <pc:sldChg chg="addSp modSp mod">
        <pc:chgData name="Srivastava, Ajitesh SBOBNG-PTIY/TCD2" userId="e90596f0-07d6-4dae-b9f8-9ee467eb8c81" providerId="ADAL" clId="{98FB0E8D-8370-324C-89F4-924F131F91D2}" dt="2024-08-30T17:31:50.498" v="1052"/>
        <pc:sldMkLst>
          <pc:docMk/>
          <pc:sldMk cId="3159148252" sldId="2147375608"/>
        </pc:sldMkLst>
        <pc:spChg chg="mod">
          <ac:chgData name="Srivastava, Ajitesh SBOBNG-PTIY/TCD2" userId="e90596f0-07d6-4dae-b9f8-9ee467eb8c81" providerId="ADAL" clId="{98FB0E8D-8370-324C-89F4-924F131F91D2}" dt="2024-08-30T17:31:08.519" v="1049"/>
          <ac:spMkLst>
            <pc:docMk/>
            <pc:sldMk cId="3159148252" sldId="2147375608"/>
            <ac:spMk id="11" creationId="{DE9F1BE0-7910-FA1B-DCE8-56EFD1E4FC09}"/>
          </ac:spMkLst>
        </pc:spChg>
        <pc:spChg chg="mod">
          <ac:chgData name="Srivastava, Ajitesh SBOBNG-PTIY/TCD2" userId="e90596f0-07d6-4dae-b9f8-9ee467eb8c81" providerId="ADAL" clId="{98FB0E8D-8370-324C-89F4-924F131F91D2}" dt="2024-08-30T17:31:50.193" v="1051" actId="20577"/>
          <ac:spMkLst>
            <pc:docMk/>
            <pc:sldMk cId="3159148252" sldId="2147375608"/>
            <ac:spMk id="12" creationId="{E53E5C3F-4D2B-B85F-E592-E58E032C664C}"/>
          </ac:spMkLst>
        </pc:spChg>
        <pc:picChg chg="add mod">
          <ac:chgData name="Srivastava, Ajitesh SBOBNG-PTIY/TCD2" userId="e90596f0-07d6-4dae-b9f8-9ee467eb8c81" providerId="ADAL" clId="{98FB0E8D-8370-324C-89F4-924F131F91D2}" dt="2024-08-30T17:31:50.498" v="1052"/>
          <ac:picMkLst>
            <pc:docMk/>
            <pc:sldMk cId="3159148252" sldId="2147375608"/>
            <ac:picMk id="5" creationId="{C0D50DF4-77F7-ECB8-00DB-6F9A106DB256}"/>
          </ac:picMkLst>
        </pc:picChg>
      </pc:sldChg>
      <pc:sldChg chg="addSp modSp mod">
        <pc:chgData name="Srivastava, Ajitesh SBOBNG-PTIY/TCD2" userId="e90596f0-07d6-4dae-b9f8-9ee467eb8c81" providerId="ADAL" clId="{98FB0E8D-8370-324C-89F4-924F131F91D2}" dt="2024-08-30T17:32:53.351" v="1054"/>
        <pc:sldMkLst>
          <pc:docMk/>
          <pc:sldMk cId="3070204084" sldId="2147375609"/>
        </pc:sldMkLst>
        <pc:spChg chg="mod">
          <ac:chgData name="Srivastava, Ajitesh SBOBNG-PTIY/TCD2" userId="e90596f0-07d6-4dae-b9f8-9ee467eb8c81" providerId="ADAL" clId="{98FB0E8D-8370-324C-89F4-924F131F91D2}" dt="2024-08-30T17:31:27.413" v="1050"/>
          <ac:spMkLst>
            <pc:docMk/>
            <pc:sldMk cId="3070204084" sldId="2147375609"/>
            <ac:spMk id="11" creationId="{DE9F1BE0-7910-FA1B-DCE8-56EFD1E4FC09}"/>
          </ac:spMkLst>
        </pc:spChg>
        <pc:spChg chg="mod">
          <ac:chgData name="Srivastava, Ajitesh SBOBNG-PTIY/TCD2" userId="e90596f0-07d6-4dae-b9f8-9ee467eb8c81" providerId="ADAL" clId="{98FB0E8D-8370-324C-89F4-924F131F91D2}" dt="2024-08-30T17:32:53.005" v="1053" actId="20577"/>
          <ac:spMkLst>
            <pc:docMk/>
            <pc:sldMk cId="3070204084" sldId="2147375609"/>
            <ac:spMk id="12" creationId="{E53E5C3F-4D2B-B85F-E592-E58E032C664C}"/>
          </ac:spMkLst>
        </pc:spChg>
        <pc:picChg chg="add mod">
          <ac:chgData name="Srivastava, Ajitesh SBOBNG-PTIY/TCD2" userId="e90596f0-07d6-4dae-b9f8-9ee467eb8c81" providerId="ADAL" clId="{98FB0E8D-8370-324C-89F4-924F131F91D2}" dt="2024-08-30T17:32:53.351" v="1054"/>
          <ac:picMkLst>
            <pc:docMk/>
            <pc:sldMk cId="3070204084" sldId="2147375609"/>
            <ac:picMk id="5" creationId="{5335899A-EA3E-8A07-49BC-90AC7E03770F}"/>
          </ac:picMkLst>
        </pc:picChg>
      </pc:sldChg>
      <pc:sldChg chg="modSp mod">
        <pc:chgData name="Srivastava, Ajitesh SBOBNG-PTIY/TCD2" userId="e90596f0-07d6-4dae-b9f8-9ee467eb8c81" providerId="ADAL" clId="{98FB0E8D-8370-324C-89F4-924F131F91D2}" dt="2024-08-30T17:29:32.977" v="1044"/>
        <pc:sldMkLst>
          <pc:docMk/>
          <pc:sldMk cId="3754613224" sldId="2147375611"/>
        </pc:sldMkLst>
        <pc:spChg chg="mod">
          <ac:chgData name="Srivastava, Ajitesh SBOBNG-PTIY/TCD2" userId="e90596f0-07d6-4dae-b9f8-9ee467eb8c81" providerId="ADAL" clId="{98FB0E8D-8370-324C-89F4-924F131F91D2}" dt="2024-08-30T17:27:34.749" v="1041"/>
          <ac:spMkLst>
            <pc:docMk/>
            <pc:sldMk cId="3754613224" sldId="2147375611"/>
            <ac:spMk id="18" creationId="{6C73795A-BE20-7075-E9C6-6F145CE60794}"/>
          </ac:spMkLst>
        </pc:spChg>
        <pc:spChg chg="mod">
          <ac:chgData name="Srivastava, Ajitesh SBOBNG-PTIY/TCD2" userId="e90596f0-07d6-4dae-b9f8-9ee467eb8c81" providerId="ADAL" clId="{98FB0E8D-8370-324C-89F4-924F131F91D2}" dt="2024-08-30T17:29:21.587" v="1042"/>
          <ac:spMkLst>
            <pc:docMk/>
            <pc:sldMk cId="3754613224" sldId="2147375611"/>
            <ac:spMk id="19" creationId="{A3E2F4D1-4417-E244-3DB9-A6FF5866A342}"/>
          </ac:spMkLst>
        </pc:spChg>
        <pc:spChg chg="mod">
          <ac:chgData name="Srivastava, Ajitesh SBOBNG-PTIY/TCD2" userId="e90596f0-07d6-4dae-b9f8-9ee467eb8c81" providerId="ADAL" clId="{98FB0E8D-8370-324C-89F4-924F131F91D2}" dt="2024-08-30T17:29:32.977" v="1044"/>
          <ac:spMkLst>
            <pc:docMk/>
            <pc:sldMk cId="3754613224" sldId="2147375611"/>
            <ac:spMk id="20" creationId="{3EBEB0AC-D407-44FD-A74F-90F67F3D13C3}"/>
          </ac:spMkLst>
        </pc:spChg>
      </pc:sldChg>
      <pc:sldChg chg="addSp modSp mod">
        <pc:chgData name="Srivastava, Ajitesh SBOBNG-PTIY/TCD2" userId="e90596f0-07d6-4dae-b9f8-9ee467eb8c81" providerId="ADAL" clId="{98FB0E8D-8370-324C-89F4-924F131F91D2}" dt="2024-08-30T17:52:51.859" v="1406" actId="1076"/>
        <pc:sldMkLst>
          <pc:docMk/>
          <pc:sldMk cId="1148838763" sldId="2147375613"/>
        </pc:sldMkLst>
        <pc:spChg chg="mod">
          <ac:chgData name="Srivastava, Ajitesh SBOBNG-PTIY/TCD2" userId="e90596f0-07d6-4dae-b9f8-9ee467eb8c81" providerId="ADAL" clId="{98FB0E8D-8370-324C-89F4-924F131F91D2}" dt="2024-08-30T17:52:09.945" v="1398" actId="20577"/>
          <ac:spMkLst>
            <pc:docMk/>
            <pc:sldMk cId="1148838763" sldId="2147375613"/>
            <ac:spMk id="11" creationId="{8CC1343B-2E39-FEFF-8FF6-46822F18B432}"/>
          </ac:spMkLst>
        </pc:spChg>
        <pc:spChg chg="mod">
          <ac:chgData name="Srivastava, Ajitesh SBOBNG-PTIY/TCD2" userId="e90596f0-07d6-4dae-b9f8-9ee467eb8c81" providerId="ADAL" clId="{98FB0E8D-8370-324C-89F4-924F131F91D2}" dt="2024-08-30T17:52:45.923" v="1404" actId="1076"/>
          <ac:spMkLst>
            <pc:docMk/>
            <pc:sldMk cId="1148838763" sldId="2147375613"/>
            <ac:spMk id="12" creationId="{5A873A1A-E63F-91AE-7D43-ED0F86870147}"/>
          </ac:spMkLst>
        </pc:spChg>
        <pc:picChg chg="add mod">
          <ac:chgData name="Srivastava, Ajitesh SBOBNG-PTIY/TCD2" userId="e90596f0-07d6-4dae-b9f8-9ee467eb8c81" providerId="ADAL" clId="{98FB0E8D-8370-324C-89F4-924F131F91D2}" dt="2024-08-30T17:52:51.859" v="1406" actId="1076"/>
          <ac:picMkLst>
            <pc:docMk/>
            <pc:sldMk cId="1148838763" sldId="2147375613"/>
            <ac:picMk id="8194" creationId="{0F38E398-B5C5-A0A0-C3FF-DAAF1F933A24}"/>
          </ac:picMkLst>
        </pc:picChg>
      </pc:sldChg>
      <pc:sldChg chg="addSp delSp modSp mod">
        <pc:chgData name="Srivastava, Ajitesh SBOBNG-PTIY/TCD2" userId="e90596f0-07d6-4dae-b9f8-9ee467eb8c81" providerId="ADAL" clId="{98FB0E8D-8370-324C-89F4-924F131F91D2}" dt="2024-08-30T17:53:43.574" v="1451"/>
        <pc:sldMkLst>
          <pc:docMk/>
          <pc:sldMk cId="3865850111" sldId="2147375614"/>
        </pc:sldMkLst>
        <pc:spChg chg="add del mod">
          <ac:chgData name="Srivastava, Ajitesh SBOBNG-PTIY/TCD2" userId="e90596f0-07d6-4dae-b9f8-9ee467eb8c81" providerId="ADAL" clId="{98FB0E8D-8370-324C-89F4-924F131F91D2}" dt="2024-08-30T17:53:43.574" v="1451"/>
          <ac:spMkLst>
            <pc:docMk/>
            <pc:sldMk cId="3865850111" sldId="2147375614"/>
            <ac:spMk id="2" creationId="{4AEC74D7-1B68-9DB2-1F3F-2FD696CC2817}"/>
          </ac:spMkLst>
        </pc:spChg>
        <pc:spChg chg="mod">
          <ac:chgData name="Srivastava, Ajitesh SBOBNG-PTIY/TCD2" userId="e90596f0-07d6-4dae-b9f8-9ee467eb8c81" providerId="ADAL" clId="{98FB0E8D-8370-324C-89F4-924F131F91D2}" dt="2024-08-30T17:53:40.232" v="1449" actId="20577"/>
          <ac:spMkLst>
            <pc:docMk/>
            <pc:sldMk cId="3865850111" sldId="2147375614"/>
            <ac:spMk id="6" creationId="{AC2F88D2-81D4-FAD4-568E-A3F495B06411}"/>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29/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29/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2.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3.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4.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39.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lt;&gt;</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err="1">
                <a:solidFill>
                  <a:schemeClr val="bg1"/>
                </a:solidFill>
              </a:rPr>
              <a:t>Ajitesh</a:t>
            </a:r>
            <a:r>
              <a:rPr lang="en-US" sz="2800" b="1" dirty="0">
                <a:solidFill>
                  <a:schemeClr val="bg1"/>
                </a:solidFill>
              </a:rPr>
              <a:t> Srivastav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Clearly outlines the objectives of the team and the specific roles of each member. This helps in aligning efforts and ensuring everyone knows their responsibilities.</a:t>
            </a:r>
          </a:p>
          <a:p>
            <a:pPr marL="0" indent="0">
              <a:buNone/>
            </a:pPr>
            <a:endParaRPr lang="en-US" sz="2000" dirty="0"/>
          </a:p>
          <a:p>
            <a:pPr marL="0" indent="0">
              <a:buNone/>
            </a:pPr>
            <a:endParaRPr lang="en-US" sz="2000" dirty="0"/>
          </a:p>
          <a:p>
            <a:r>
              <a:rPr lang="en-US" sz="2000" dirty="0"/>
              <a:t>A collaborative team create an optimum solution in the minimum time which drives the company smoothly and efficientl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2" descr="Why Is Teamwork Important in the Workplace? - Newsweek">
            <a:extLst>
              <a:ext uri="{FF2B5EF4-FFF2-40B4-BE49-F238E27FC236}">
                <a16:creationId xmlns:a16="http://schemas.microsoft.com/office/drawing/2014/main" id="{FAB62D5E-9282-3246-EF84-DF5B5646160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56412" y="2234308"/>
            <a:ext cx="4439479" cy="3329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As a restless person, I distracted myself continuously and it was a difficult task to be focused. However, taking small steps and keeping my concentration on the task on the hand and being mentally aware helped me achieve professionalism in the work environment.</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2" descr="Improve your concentration power to 90% with these tricks">
            <a:extLst>
              <a:ext uri="{FF2B5EF4-FFF2-40B4-BE49-F238E27FC236}">
                <a16:creationId xmlns:a16="http://schemas.microsoft.com/office/drawing/2014/main" id="{6E6BCA3C-4221-3C23-4941-DB2084D88D86}"/>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00798" y="1860993"/>
            <a:ext cx="5364000" cy="40876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Miscommunication and misinterpretation of stakeholder’s true needs and expectations was a particularly difficult challenge as everyone is from different culture. The solution I found to be effective was being open and empathetic with whom I am conversing to avoid any misunderstandings. </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2" descr="8 Causes of Miscommunication in the Workplace - AllBusiness.com">
            <a:extLst>
              <a:ext uri="{FF2B5EF4-FFF2-40B4-BE49-F238E27FC236}">
                <a16:creationId xmlns:a16="http://schemas.microsoft.com/office/drawing/2014/main" id="{C0D50DF4-77F7-ECB8-00DB-6F9A106DB25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96818" y="1860992"/>
            <a:ext cx="5364000" cy="4076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I believe myself to be a passive and a shy speaker, however I realized to thrive I needed to change myself. This led to take initiative and be more assertive to share my thoughts during a group discussion or team projec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2">
            <a:extLst>
              <a:ext uri="{FF2B5EF4-FFF2-40B4-BE49-F238E27FC236}">
                <a16:creationId xmlns:a16="http://schemas.microsoft.com/office/drawing/2014/main" id="{5335899A-EA3E-8A07-49BC-90AC7E03770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00797" y="1860992"/>
            <a:ext cx="5364000" cy="40876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Networking and Socializing</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Meet and Greet) </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Meet and learn from a new person everyday and get to know more about them.</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effectLst>
                  <a:outerShdw blurRad="38100" dist="38100" dir="2700000" algn="tl">
                    <a:srgbClr val="000000">
                      <a:alpha val="43137"/>
                    </a:srgbClr>
                  </a:outerShdw>
                </a:effectLst>
              </a:rPr>
              <a:t>Connected with lot of people for various teams and learnt from them.</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how ”Your” learning was fun this week</a:t>
            </a:r>
          </a:p>
          <a:p>
            <a:pPr marL="0" indent="0">
              <a:buFont typeface="Arial" panose="020B0604020202020204" pitchFamily="34" charset="0"/>
              <a:buNone/>
            </a:pPr>
            <a:endParaRPr lang="en-US" sz="2000" dirty="0"/>
          </a:p>
          <a:p>
            <a:r>
              <a:rPr lang="en-US" sz="2000" dirty="0"/>
              <a:t>Human Bingo (Find someone who)</a:t>
            </a:r>
          </a:p>
          <a:p>
            <a:r>
              <a:rPr lang="en-US" sz="2000" dirty="0"/>
              <a:t>Had a funny incident when a guy enacted himself as a father.</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8194" name="Picture 2" descr="Sample Human Bingo Grids for Team Building - Team Bonding">
            <a:extLst>
              <a:ext uri="{FF2B5EF4-FFF2-40B4-BE49-F238E27FC236}">
                <a16:creationId xmlns:a16="http://schemas.microsoft.com/office/drawing/2014/main" id="{0F38E398-B5C5-A0A0-C3FF-DAAF1F933A2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80703" y="2695989"/>
            <a:ext cx="3390900" cy="2400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Learnt about Soft skills</a:t>
            </a:r>
          </a:p>
          <a:p>
            <a:pPr>
              <a:lnSpc>
                <a:spcPct val="100000"/>
              </a:lnSpc>
            </a:pPr>
            <a:r>
              <a:rPr lang="en-US" sz="2000" dirty="0"/>
              <a:t>DBMS, Cloud, </a:t>
            </a:r>
            <a:r>
              <a:rPr lang="en-US" sz="2000" dirty="0" err="1"/>
              <a:t>Devops</a:t>
            </a:r>
            <a:endParaRPr lang="en-US" sz="1800" dirty="0"/>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The person your are destined to become is the person you decided to be.</a:t>
            </a:r>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1028" name="Picture 4" descr="The Batman' flies high with its dark and serious Dark Knight, but hangs  around too long | CNN">
            <a:extLst>
              <a:ext uri="{FF2B5EF4-FFF2-40B4-BE49-F238E27FC236}">
                <a16:creationId xmlns:a16="http://schemas.microsoft.com/office/drawing/2014/main" id="{16E080D3-371B-B6C0-798F-19AC4F3F9B2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61870" y="2372051"/>
            <a:ext cx="5028566" cy="29956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in your own words) details of the learning.</a:t>
            </a:r>
          </a:p>
          <a:p>
            <a:pPr marL="0" indent="0">
              <a:buFont typeface="Arial" panose="020B0604020202020204" pitchFamily="34" charset="0"/>
              <a:buNone/>
            </a:pPr>
            <a:endParaRPr lang="en-US" sz="2000" dirty="0"/>
          </a:p>
          <a:p>
            <a:r>
              <a:rPr lang="en-US" sz="2000" dirty="0"/>
              <a:t>Professionalism</a:t>
            </a:r>
          </a:p>
          <a:p>
            <a:r>
              <a:rPr lang="en-US" sz="2000" dirty="0"/>
              <a:t>Ethical Behavior, Proper Attire</a:t>
            </a:r>
          </a:p>
          <a:p>
            <a:r>
              <a:rPr lang="en-US" sz="2000" dirty="0"/>
              <a:t>Professionals in energy sector must adhere to strict ethical standards, especially given the environmental and societal impact of their work.</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3074" name="Picture 2" descr="How to manage a professional image when your personal life is falling apart">
            <a:extLst>
              <a:ext uri="{FF2B5EF4-FFF2-40B4-BE49-F238E27FC236}">
                <a16:creationId xmlns:a16="http://schemas.microsoft.com/office/drawing/2014/main" id="{0A5EAAE2-B631-E01B-2347-0286EA7C91C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76536" y="2858127"/>
            <a:ext cx="4199232" cy="20819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in your own words) details of the learning.</a:t>
            </a:r>
          </a:p>
          <a:p>
            <a:pPr marL="0" indent="0">
              <a:buFont typeface="Arial" panose="020B0604020202020204" pitchFamily="34" charset="0"/>
              <a:buNone/>
            </a:pPr>
            <a:endParaRPr lang="en-US" sz="2000" dirty="0"/>
          </a:p>
          <a:p>
            <a:r>
              <a:rPr lang="en-US" sz="2000" dirty="0"/>
              <a:t>Stakeholder</a:t>
            </a:r>
          </a:p>
          <a:p>
            <a:r>
              <a:rPr lang="en-US" sz="2000" dirty="0"/>
              <a:t>Effective communication, Risk Management</a:t>
            </a:r>
          </a:p>
          <a:p>
            <a:r>
              <a:rPr lang="en-US" sz="2000" dirty="0"/>
              <a:t>Refers to any individual, group, or organization that has an interest in or is affected by the production, distribution or consumption.</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2054" name="Picture 6" descr="Why Stakeholder Engagement is a Key to Project Success?">
            <a:extLst>
              <a:ext uri="{FF2B5EF4-FFF2-40B4-BE49-F238E27FC236}">
                <a16:creationId xmlns:a16="http://schemas.microsoft.com/office/drawing/2014/main" id="{9FA57274-6AD4-8F6F-FD94-5C0C63BDB82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29310" y="2375451"/>
            <a:ext cx="3881533" cy="28337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in your own words) details of the learning.</a:t>
            </a:r>
          </a:p>
          <a:p>
            <a:pPr marL="0" indent="0">
              <a:buFont typeface="Arial" panose="020B0604020202020204" pitchFamily="34" charset="0"/>
              <a:buNone/>
            </a:pPr>
            <a:endParaRPr lang="en-US" sz="2000" dirty="0"/>
          </a:p>
          <a:p>
            <a:r>
              <a:rPr lang="en-US" sz="2000" dirty="0"/>
              <a:t>Teamwork</a:t>
            </a:r>
          </a:p>
          <a:p>
            <a:r>
              <a:rPr lang="en-US" sz="2000" dirty="0"/>
              <a:t>There is no i in Team</a:t>
            </a:r>
          </a:p>
          <a:p>
            <a:r>
              <a:rPr lang="en-US" sz="2000" dirty="0"/>
              <a:t>When individuals work together toward a collective goal, businesses can flourish. Teamwork leads to increased productivity, creativity, and problem-solving.</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4098" name="Picture 2" descr="Why Is Teamwork Important in the Workplace? - Newsweek">
            <a:extLst>
              <a:ext uri="{FF2B5EF4-FFF2-40B4-BE49-F238E27FC236}">
                <a16:creationId xmlns:a16="http://schemas.microsoft.com/office/drawing/2014/main" id="{844A494A-F287-5FC3-17CD-130A34EFC64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56412" y="2234308"/>
            <a:ext cx="4439479" cy="3329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Encourage a culture of respect, inclusivity, and collaboration. Recognize and reward professional behavior to reinforce its importance</a:t>
            </a:r>
          </a:p>
          <a:p>
            <a:pPr marL="0" indent="0">
              <a:buNone/>
            </a:pPr>
            <a:endParaRPr lang="en-US" sz="2000" dirty="0"/>
          </a:p>
          <a:p>
            <a:pPr marL="0" indent="0">
              <a:buNone/>
            </a:pPr>
            <a:endParaRPr lang="en-US" sz="2000" dirty="0"/>
          </a:p>
          <a:p>
            <a:pPr marL="0" indent="0">
              <a:buNone/>
            </a:pPr>
            <a:endParaRPr lang="en-US" sz="2000" dirty="0"/>
          </a:p>
          <a:p>
            <a:r>
              <a:rPr lang="en-US" sz="2000" dirty="0"/>
              <a:t>Better interaction with clients and giving credibility to the organization</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2" descr="How to manage a professional image when your personal life is falling apart">
            <a:extLst>
              <a:ext uri="{FF2B5EF4-FFF2-40B4-BE49-F238E27FC236}">
                <a16:creationId xmlns:a16="http://schemas.microsoft.com/office/drawing/2014/main" id="{980F5F2F-A521-4B10-63DE-231BF60B1FF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76536" y="2858127"/>
            <a:ext cx="4199232" cy="20819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Engage with stakeholders to understand their needs, expectations, and concerns. They do this through surveys, interviews, and regular meetings.</a:t>
            </a:r>
          </a:p>
          <a:p>
            <a:pPr marL="0" indent="0">
              <a:buNone/>
            </a:pPr>
            <a:endParaRPr lang="en-US" sz="2000" dirty="0"/>
          </a:p>
          <a:p>
            <a:pPr marL="0" indent="0">
              <a:buNone/>
            </a:pPr>
            <a:endParaRPr lang="en-US" sz="2000" dirty="0"/>
          </a:p>
          <a:p>
            <a:pPr marL="0" indent="0">
              <a:buNone/>
            </a:pPr>
            <a:endParaRPr lang="en-US" sz="2000" dirty="0"/>
          </a:p>
          <a:p>
            <a:pPr marL="0" indent="0">
              <a:buNone/>
            </a:pPr>
            <a:r>
              <a:rPr lang="en-US" sz="2000" dirty="0"/>
              <a:t>Better stake holder engagement enables faster and efficient resolution of problem.</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6" descr="Why Stakeholder Engagement is a Key to Project Success?">
            <a:extLst>
              <a:ext uri="{FF2B5EF4-FFF2-40B4-BE49-F238E27FC236}">
                <a16:creationId xmlns:a16="http://schemas.microsoft.com/office/drawing/2014/main" id="{3A7F2D84-D18A-327A-A9A0-05FEBFF487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29310" y="2375451"/>
            <a:ext cx="3881533" cy="28337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DADF44A-8650-472F-B2D9-50E27F0769F7}">
  <ds:schemaRefs>
    <ds:schemaRef ds:uri="http://schemas.openxmlformats.org/package/2006/metadata/core-properties"/>
    <ds:schemaRef ds:uri="http://schemas.microsoft.com/office/infopath/2007/PartnerControls"/>
    <ds:schemaRef ds:uri="http://www.w3.org/XML/1998/namespace"/>
    <ds:schemaRef ds:uri="http://purl.org/dc/terms/"/>
    <ds:schemaRef ds:uri="489eda54-cdc8-4a48-94a2-8f9cf8024289"/>
    <ds:schemaRef ds:uri="http://schemas.microsoft.com/office/2006/documentManagement/types"/>
    <ds:schemaRef ds:uri="http://purl.org/dc/dcmitype/"/>
    <ds:schemaRef ds:uri="http://purl.org/dc/elements/1.1/"/>
    <ds:schemaRef ds:uri="http://schemas.microsoft.com/office/2006/metadata/properties"/>
    <ds:schemaRef ds:uri="d64320fb-f9a3-4131-8206-9d18da17abe9"/>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e49536e-9021-4e8b-a813-eda5cb0caf1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22017</TotalTime>
  <Words>588</Words>
  <Application>Microsoft Macintosh PowerPoint</Application>
  <PresentationFormat>Widescreen</PresentationFormat>
  <Paragraphs>81</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Srivastava, Ajitesh SBOBNG-PTIY/TCD2</cp:lastModifiedBy>
  <cp:revision>500</cp:revision>
  <dcterms:created xsi:type="dcterms:W3CDTF">2022-01-18T12:35:56Z</dcterms:created>
  <dcterms:modified xsi:type="dcterms:W3CDTF">2024-08-30T17:56: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